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603" r:id="rId2"/>
    <p:sldId id="849" r:id="rId3"/>
    <p:sldId id="840" r:id="rId4"/>
    <p:sldId id="845" r:id="rId5"/>
    <p:sldId id="850" r:id="rId6"/>
    <p:sldId id="831" r:id="rId7"/>
    <p:sldId id="828" r:id="rId8"/>
  </p:sldIdLst>
  <p:sldSz cx="9906000" cy="6858000" type="A4"/>
  <p:notesSz cx="6797675" cy="9874250"/>
  <p:custDataLst>
    <p:tags r:id="rId11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19">
          <p15:clr>
            <a:srgbClr val="A4A3A4"/>
          </p15:clr>
        </p15:guide>
        <p15:guide id="2" orient="horz" pos="3748">
          <p15:clr>
            <a:srgbClr val="A4A3A4"/>
          </p15:clr>
        </p15:guide>
        <p15:guide id="3" orient="horz" pos="1026">
          <p15:clr>
            <a:srgbClr val="A4A3A4"/>
          </p15:clr>
        </p15:guide>
        <p15:guide id="4" orient="horz" pos="663">
          <p15:clr>
            <a:srgbClr val="A4A3A4"/>
          </p15:clr>
        </p15:guide>
        <p15:guide id="5" orient="horz" pos="572">
          <p15:clr>
            <a:srgbClr val="A4A3A4"/>
          </p15:clr>
        </p15:guide>
        <p15:guide id="6" pos="171">
          <p15:clr>
            <a:srgbClr val="A4A3A4"/>
          </p15:clr>
        </p15:guide>
        <p15:guide id="7" pos="6069">
          <p15:clr>
            <a:srgbClr val="A4A3A4"/>
          </p15:clr>
        </p15:guide>
        <p15:guide id="8" pos="3120">
          <p15:clr>
            <a:srgbClr val="A4A3A4"/>
          </p15:clr>
        </p15:guide>
        <p15:guide id="9" pos="4447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inoptik" initials="S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D3F9F7"/>
    <a:srgbClr val="EEE5FF"/>
    <a:srgbClr val="FF9900"/>
    <a:srgbClr val="DEEDF6"/>
    <a:srgbClr val="E7F2F9"/>
    <a:srgbClr val="D9EBEF"/>
    <a:srgbClr val="C8F8F6"/>
    <a:srgbClr val="BBDCE3"/>
    <a:srgbClr val="66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FD0F851-EC5A-4D38-B0AD-8093EC10F338}" styleName="Светлый стиль 1 -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10A1B5D5-9B99-4C35-A422-299274C87663}" styleName="Средний стиль 1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68D230F3-CF80-4859-8CE7-A43EE81993B5}" styleName="Светлый стиль 1 -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E8B1032C-EA38-4F05-BA0D-38AFFFC7BED3}" styleName="Светлый стиль 3 -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12C8C85-51F0-491E-9774-3900AFEF0FD7}" styleName="Светлый стиль 2 -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301" autoAdjust="0"/>
    <p:restoredTop sz="97893" autoAdjust="0"/>
  </p:normalViewPr>
  <p:slideViewPr>
    <p:cSldViewPr showGuides="1">
      <p:cViewPr>
        <p:scale>
          <a:sx n="94" d="100"/>
          <a:sy n="94" d="100"/>
        </p:scale>
        <p:origin x="-114" y="-384"/>
      </p:cViewPr>
      <p:guideLst>
        <p:guide orient="horz" pos="119"/>
        <p:guide orient="horz" pos="3748"/>
        <p:guide orient="horz" pos="1026"/>
        <p:guide orient="horz" pos="663"/>
        <p:guide orient="horz" pos="572"/>
        <p:guide pos="171"/>
        <p:guide pos="6069"/>
        <p:guide pos="3120"/>
        <p:guide pos="444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46400" cy="4937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9" y="2"/>
            <a:ext cx="2946400" cy="4937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10F069-010A-42B8-B4C4-C32F01962F2E}" type="datetimeFigureOut">
              <a:rPr lang="ru-RU" smtClean="0"/>
              <a:pPr/>
              <a:t>23.11.2015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378952"/>
            <a:ext cx="2946400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9" y="9378952"/>
            <a:ext cx="2946400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830BD1F-2666-4251-A58D-F70AEC935F5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87948404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2"/>
            <a:ext cx="2945659" cy="4937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6" y="2"/>
            <a:ext cx="2945659" cy="4937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562274-454C-4AB3-AC45-8E9B40AA4428}" type="datetimeFigureOut">
              <a:rPr lang="ru-RU" smtClean="0"/>
              <a:pPr/>
              <a:t>23.11.2015</a:t>
            </a:fld>
            <a:endParaRPr lang="ru-RU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3900" y="739775"/>
            <a:ext cx="53498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3" y="9378827"/>
            <a:ext cx="2945659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6" y="9378827"/>
            <a:ext cx="2945659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6BD1EF-FA7D-49B2-8D04-49E845A8C84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59517304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23900" y="739775"/>
            <a:ext cx="5349875" cy="37036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6BD1EF-FA7D-49B2-8D04-49E845A8C84B}" type="slidenum">
              <a:rPr lang="ru-RU" smtClean="0"/>
              <a:pPr/>
              <a:t>1</a:t>
            </a:fld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2BB789CF-0980-4D94-B61E-B3A734DA9607}" type="datetime1">
              <a:rPr lang="ru-RU" smtClean="0"/>
              <a:pPr/>
              <a:t>23.11.2015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095258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773DA1D4-325D-48B6-8665-B1D5AEB1C381}" type="datetime1">
              <a:rPr lang="ru-RU" smtClean="0"/>
              <a:t>23.11.2015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6BD1EF-FA7D-49B2-8D04-49E845A8C84B}" type="slidenum">
              <a:rPr lang="ru-RU" smtClean="0"/>
              <a:pPr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904219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48377A59-C7E5-4898-BA12-3B182B8CAD21}" type="datetime1">
              <a:rPr lang="ru-RU" smtClean="0"/>
              <a:t>23.11.2015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6BD1EF-FA7D-49B2-8D04-49E845A8C84B}" type="slidenum">
              <a:rPr lang="ru-RU" smtClean="0"/>
              <a:pPr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184528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4" name="Picture 6" descr="K:\TNC\Ростелеком\PPT Shablon\work\DIMA_ROS_PP-01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4673" y="0"/>
            <a:ext cx="4721328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 userDrawn="1"/>
        </p:nvSpPr>
        <p:spPr>
          <a:xfrm>
            <a:off x="0" y="5373216"/>
            <a:ext cx="2846766" cy="14847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62523" y="3068960"/>
            <a:ext cx="4992555" cy="1152128"/>
          </a:xfrm>
        </p:spPr>
        <p:txBody>
          <a:bodyPr>
            <a:normAutofit/>
          </a:bodyPr>
          <a:lstStyle>
            <a:lvl1pPr algn="l">
              <a:defRPr sz="3200" cap="all" baseline="0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2523" y="4340696"/>
            <a:ext cx="4992555" cy="1032520"/>
          </a:xfrm>
        </p:spPr>
        <p:txBody>
          <a:bodyPr lIns="0" tIns="0" rIns="0" bIns="0">
            <a:norm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ru-RU" dirty="0" smtClean="0"/>
          </a:p>
        </p:txBody>
      </p:sp>
      <p:pic>
        <p:nvPicPr>
          <p:cNvPr id="2052" name="Picture 4" descr="K:\TNC\Ростелеком\PPT Shablon\work\ROS-logo-diskr-color-goriz-RU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035" y="0"/>
            <a:ext cx="3204131" cy="1619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QptDraftNote_ID_4"/>
          <p:cNvSpPr txBox="1"/>
          <p:nvPr userDrawn="1">
            <p:custDataLst>
              <p:tags r:id="rId1"/>
            </p:custDataLst>
          </p:nvPr>
        </p:nvSpPr>
        <p:spPr bwMode="gray">
          <a:xfrm>
            <a:off x="261274" y="88900"/>
            <a:ext cx="4153955" cy="18466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176213" lvl="0" indent="-176213">
              <a:spcBef>
                <a:spcPct val="20000"/>
              </a:spcBef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1pPr>
            <a:lvl2pPr marL="536575" lvl="1" indent="-268288">
              <a:spcBef>
                <a:spcPct val="20000"/>
              </a:spcBef>
              <a:buFont typeface="Arial" pitchFamily="34" charset="0"/>
              <a:buChar char="–"/>
              <a:tabLst/>
              <a:defRPr sz="1400">
                <a:latin typeface="Arial" pitchFamily="34" charset="0"/>
                <a:cs typeface="Arial" pitchFamily="34" charset="0"/>
              </a:defRPr>
            </a:lvl2pPr>
            <a:lvl3pPr marL="720725" lvl="2" indent="-184150">
              <a:spcBef>
                <a:spcPct val="20000"/>
              </a:spcBef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3pPr>
            <a:lvl4pPr marL="720725" lvl="3" indent="-184150">
              <a:spcBef>
                <a:spcPct val="20000"/>
              </a:spcBef>
              <a:buFont typeface="Arial" pitchFamily="34" charset="0"/>
              <a:buChar char="–"/>
              <a:defRPr sz="1400">
                <a:latin typeface="Arial" pitchFamily="34" charset="0"/>
                <a:cs typeface="Arial" pitchFamily="34" charset="0"/>
              </a:defRPr>
            </a:lvl4pPr>
            <a:lvl5pPr marL="720725" lvl="4" indent="-184150">
              <a:spcBef>
                <a:spcPct val="20000"/>
              </a:spcBef>
              <a:buFont typeface="Arial" pitchFamily="34" charset="0"/>
              <a:buChar char="»"/>
              <a:defRPr sz="1400"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176213" lvl="0" indent="-176213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en-US" sz="1200" b="1" i="1" dirty="0" smtClean="0">
                <a:solidFill>
                  <a:srgbClr val="000000"/>
                </a:solidFill>
              </a:rPr>
              <a:t> </a:t>
            </a:r>
            <a:endParaRPr lang="ru-RU" sz="1200" b="1" i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42496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2480" y="130622"/>
            <a:ext cx="8748177" cy="850106"/>
          </a:xfrm>
        </p:spPr>
        <p:txBody>
          <a:bodyPr/>
          <a:lstStyle>
            <a:lvl1pPr>
              <a:defRPr sz="2400" b="1"/>
            </a:lvl1pPr>
          </a:lstStyle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BF2E87-D958-450C-B8CE-6001BA754807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663866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K:\TNC\Ростелеком\PPT Shablon\work\DIMA_ROS_PP-03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0" y="0"/>
            <a:ext cx="4953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7359" y="2204865"/>
            <a:ext cx="4207632" cy="1512169"/>
          </a:xfrm>
        </p:spPr>
        <p:txBody>
          <a:bodyPr anchor="b" anchorCtr="0">
            <a:normAutofit/>
          </a:bodyPr>
          <a:lstStyle>
            <a:lvl1pPr algn="l">
              <a:defRPr sz="2800" b="0" cap="all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7360" y="3873030"/>
            <a:ext cx="1555337" cy="348059"/>
          </a:xfrm>
          <a:gradFill>
            <a:gsLst>
              <a:gs pos="0">
                <a:srgbClr val="F15A22"/>
              </a:gs>
              <a:gs pos="100000">
                <a:srgbClr val="F99D33"/>
              </a:gs>
            </a:gsLst>
            <a:lin ang="0" scaled="0"/>
          </a:gradFill>
        </p:spPr>
        <p:txBody>
          <a:bodyPr lIns="0" tIns="0" rIns="0" bIns="0" anchor="ctr" anchorCtr="0">
            <a:norm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BF2E87-D958-450C-B8CE-6001BA754807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8" name="Picture 4" descr="K:\TNC\Ростелеком\PPT Shablon\work\ROS-logo-diskr-color-goriz-RU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035" y="0"/>
            <a:ext cx="3204131" cy="1619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Connector 8"/>
          <p:cNvCxnSpPr/>
          <p:nvPr userDrawn="1"/>
        </p:nvCxnSpPr>
        <p:spPr>
          <a:xfrm>
            <a:off x="1159570" y="6153400"/>
            <a:ext cx="0" cy="466477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 userDrawn="1"/>
        </p:nvSpPr>
        <p:spPr>
          <a:xfrm>
            <a:off x="1419392" y="6237313"/>
            <a:ext cx="187220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www.rt.ru</a:t>
            </a:r>
            <a:endParaRPr lang="ru-RU" b="1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12375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BF2E87-D958-450C-B8CE-6001BA754807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477369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2480" y="130622"/>
            <a:ext cx="8748177" cy="850106"/>
          </a:xfrm>
        </p:spPr>
        <p:txBody>
          <a:bodyPr/>
          <a:lstStyle>
            <a:lvl1pPr>
              <a:defRPr sz="2400" b="1"/>
            </a:lvl1pPr>
          </a:lstStyle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BF2E87-D958-450C-B8CE-6001BA754807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076031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28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K:\TNC\Ростелеком\PPT Shablon\work\DIMA_ROS_PP-04.jp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9461" y="0"/>
            <a:ext cx="3787414" cy="6237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1274" y="116632"/>
            <a:ext cx="8748177" cy="86409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ru-RU" dirty="0" smtClean="0"/>
              <a:t>Основной заголовок</a:t>
            </a:r>
            <a:br>
              <a:rPr lang="ru-RU" dirty="0" smtClean="0"/>
            </a:br>
            <a:r>
              <a:rPr lang="ru-RU" dirty="0" smtClean="0"/>
              <a:t>Вторая строка</a:t>
            </a:r>
            <a:endParaRPr lang="ru-R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2480" y="1124743"/>
            <a:ext cx="8748177" cy="48245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463" y="6193979"/>
            <a:ext cx="78084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E4BF2E87-D958-450C-B8CE-6001BA754807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1159570" y="6153400"/>
            <a:ext cx="0" cy="466477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 userDrawn="1"/>
        </p:nvSpPr>
        <p:spPr>
          <a:xfrm>
            <a:off x="1419392" y="6237313"/>
            <a:ext cx="187220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www.rt.ru</a:t>
            </a:r>
            <a:endParaRPr lang="ru-RU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029" name="Picture 5" descr="K:\TNC\Ростелеком\PPT Shablon\work\ROS-logo-color-horiz-RU.pn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6842" y="5720709"/>
            <a:ext cx="2699158" cy="11372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QptDraftNote_ID_4"/>
          <p:cNvSpPr txBox="1"/>
          <p:nvPr userDrawn="1">
            <p:custDataLst>
              <p:tags r:id="rId7"/>
            </p:custDataLst>
          </p:nvPr>
        </p:nvSpPr>
        <p:spPr bwMode="gray">
          <a:xfrm>
            <a:off x="261274" y="88900"/>
            <a:ext cx="4153955" cy="18466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176213" lvl="0" indent="-176213">
              <a:spcBef>
                <a:spcPct val="20000"/>
              </a:spcBef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1pPr>
            <a:lvl2pPr marL="536575" lvl="1" indent="-268288">
              <a:spcBef>
                <a:spcPct val="20000"/>
              </a:spcBef>
              <a:buFont typeface="Arial" pitchFamily="34" charset="0"/>
              <a:buChar char="–"/>
              <a:tabLst/>
              <a:defRPr sz="1400">
                <a:latin typeface="Arial" pitchFamily="34" charset="0"/>
                <a:cs typeface="Arial" pitchFamily="34" charset="0"/>
              </a:defRPr>
            </a:lvl2pPr>
            <a:lvl3pPr marL="720725" lvl="2" indent="-184150">
              <a:spcBef>
                <a:spcPct val="20000"/>
              </a:spcBef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3pPr>
            <a:lvl4pPr marL="720725" lvl="3" indent="-184150">
              <a:spcBef>
                <a:spcPct val="20000"/>
              </a:spcBef>
              <a:buFont typeface="Arial" pitchFamily="34" charset="0"/>
              <a:buChar char="–"/>
              <a:defRPr sz="1400">
                <a:latin typeface="Arial" pitchFamily="34" charset="0"/>
                <a:cs typeface="Arial" pitchFamily="34" charset="0"/>
              </a:defRPr>
            </a:lvl4pPr>
            <a:lvl5pPr marL="720725" lvl="4" indent="-184150">
              <a:spcBef>
                <a:spcPct val="20000"/>
              </a:spcBef>
              <a:buFont typeface="Arial" pitchFamily="34" charset="0"/>
              <a:buChar char="»"/>
              <a:defRPr sz="1400"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176213" lvl="0" indent="-176213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en-US" sz="1200" b="1" i="1" dirty="0" smtClean="0">
                <a:solidFill>
                  <a:srgbClr val="000000"/>
                </a:solidFill>
              </a:rPr>
              <a:t> </a:t>
            </a:r>
            <a:endParaRPr lang="ru-RU" sz="1200" b="1" i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23848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51" r:id="rId3"/>
    <p:sldLayoutId id="2147483657" r:id="rId4"/>
    <p:sldLayoutId id="2147483678" r:id="rId5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76213" indent="-176213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36575" indent="-268288" algn="l" defTabSz="914400" rtl="0" eaLnBrk="1" latinLnBrk="0" hangingPunct="1">
        <a:spcBef>
          <a:spcPct val="20000"/>
        </a:spcBef>
        <a:buFont typeface="Arial" pitchFamily="34" charset="0"/>
        <a:buChar char="–"/>
        <a:tabLst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720725" indent="-184150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720725" indent="-18415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725" indent="-184150" algn="l" defTabSz="914400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813150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3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560512" y="1700808"/>
            <a:ext cx="5328592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2800" dirty="0" smtClean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2800" dirty="0" smtClean="0">
                <a:latin typeface="Arial" pitchFamily="34" charset="0"/>
                <a:cs typeface="Arial" pitchFamily="34" charset="0"/>
              </a:rPr>
              <a:t>Доклад о ходе реализации проекта «Устранение цифрового неравенства»               в МРФ «Сибирь»                           ПАО «Ростелеком»</a:t>
            </a:r>
            <a:endParaRPr lang="ru-RU" sz="2800" dirty="0">
              <a:latin typeface="Arial" pitchFamily="34" charset="0"/>
              <a:cs typeface="Arial" pitchFamily="34" charset="0"/>
            </a:endParaRPr>
          </a:p>
          <a:p>
            <a:endParaRPr lang="en-US" sz="24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9381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BF2E87-D958-450C-B8CE-6001BA754807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255160" y="3717032"/>
            <a:ext cx="8748177" cy="490066"/>
          </a:xfrm>
          <a:prstGeom prst="rect">
            <a:avLst/>
          </a:prstGeom>
        </p:spPr>
        <p:txBody>
          <a:bodyPr vert="horz" lIns="0" tIns="0" rIns="0" bIns="0" rtlCol="0" anchor="t" anchorCtr="0">
            <a:normAutofit fontScale="975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 baseline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ctr"/>
            <a:endParaRPr lang="ru-RU" dirty="0">
              <a:solidFill>
                <a:srgbClr val="0070C0"/>
              </a:solidFill>
            </a:endParaRPr>
          </a:p>
        </p:txBody>
      </p:sp>
      <p:sp>
        <p:nvSpPr>
          <p:cNvPr id="6" name="Нашивка 5"/>
          <p:cNvSpPr/>
          <p:nvPr>
            <p:custDataLst>
              <p:tags r:id="rId1"/>
            </p:custDataLst>
          </p:nvPr>
        </p:nvSpPr>
        <p:spPr>
          <a:xfrm>
            <a:off x="344488" y="116632"/>
            <a:ext cx="9127013" cy="1224136"/>
          </a:xfrm>
          <a:prstGeom prst="chevron">
            <a:avLst>
              <a:gd name="adj" fmla="val 1913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>
                <a:solidFill>
                  <a:schemeClr val="bg1"/>
                </a:solidFill>
              </a:rPr>
              <a:t>Объёмные показатели проекта.                                                       Строительство ТД по поручению  м</a:t>
            </a:r>
            <a:r>
              <a:rPr lang="ru-RU" sz="2400" dirty="0"/>
              <a:t>инистерства связи и массовых коммуникаций Российской Федерации</a:t>
            </a:r>
            <a:endParaRPr lang="ru-RU" sz="2400" dirty="0">
              <a:solidFill>
                <a:schemeClr val="bg1"/>
              </a:solidFill>
            </a:endParaRPr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1967491"/>
              </p:ext>
            </p:extLst>
          </p:nvPr>
        </p:nvGraphicFramePr>
        <p:xfrm>
          <a:off x="344489" y="1556788"/>
          <a:ext cx="9073006" cy="4170170"/>
        </p:xfrm>
        <a:graphic>
          <a:graphicData uri="http://schemas.openxmlformats.org/drawingml/2006/table">
            <a:tbl>
              <a:tblPr/>
              <a:tblGrid>
                <a:gridCol w="2761349"/>
                <a:gridCol w="1380675"/>
                <a:gridCol w="1669868"/>
                <a:gridCol w="1683200"/>
                <a:gridCol w="1577914"/>
              </a:tblGrid>
              <a:tr h="19990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Субъект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Ф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Общее количество ТД, шт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из них: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6642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на строящихся ВОЛС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,                   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шт.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на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существующих 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ВОЛС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,                  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шт.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Спутниковые решения,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       шт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.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24056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Алтайский</a:t>
                      </a: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край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7</a:t>
                      </a:r>
                      <a:endParaRPr lang="ru-RU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3</a:t>
                      </a:r>
                      <a:endParaRPr lang="ru-RU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4</a:t>
                      </a:r>
                      <a:endParaRPr lang="ru-RU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  <a:endParaRPr lang="ru-RU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056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Красноярский край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95</a:t>
                      </a:r>
                      <a:endParaRPr lang="ru-RU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0</a:t>
                      </a:r>
                      <a:endParaRPr lang="ru-RU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  <a:endParaRPr lang="ru-RU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5</a:t>
                      </a:r>
                      <a:endParaRPr lang="ru-RU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056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Забайкальский край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1</a:t>
                      </a:r>
                      <a:endParaRPr lang="ru-RU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9</a:t>
                      </a:r>
                      <a:endParaRPr lang="ru-RU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  <a:endParaRPr lang="ru-RU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endParaRPr lang="ru-RU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056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Омская область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60</a:t>
                      </a:r>
                      <a:endParaRPr lang="ru-RU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7</a:t>
                      </a:r>
                      <a:endParaRPr lang="ru-RU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endParaRPr lang="ru-RU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  <a:endParaRPr lang="ru-RU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978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Иркутская область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9</a:t>
                      </a:r>
                      <a:endParaRPr lang="ru-RU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4</a:t>
                      </a:r>
                      <a:endParaRPr lang="ru-RU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  <a:endParaRPr lang="ru-RU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3</a:t>
                      </a:r>
                      <a:endParaRPr lang="ru-RU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056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Кемеровская область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  <a:r>
                        <a:rPr lang="en-US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  <a:endParaRPr lang="ru-RU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7</a:t>
                      </a:r>
                      <a:endParaRPr lang="ru-RU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3</a:t>
                      </a:r>
                      <a:endParaRPr lang="ru-RU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  <a:endParaRPr lang="ru-RU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056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Томская область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  <a:r>
                        <a:rPr lang="en-US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endParaRPr lang="ru-RU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0</a:t>
                      </a:r>
                      <a:endParaRPr lang="ru-RU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6</a:t>
                      </a:r>
                      <a:endParaRPr lang="ru-RU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</a:t>
                      </a:r>
                      <a:endParaRPr lang="ru-RU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0720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Новосибирская область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79</a:t>
                      </a:r>
                      <a:endParaRPr lang="ru-RU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4</a:t>
                      </a:r>
                      <a:r>
                        <a:rPr lang="ru-RU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5</a:t>
                      </a:r>
                      <a:endParaRPr lang="ru-RU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  <a:endParaRPr lang="ru-RU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653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еспублика Бурятия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0</a:t>
                      </a:r>
                      <a:endParaRPr lang="ru-RU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1</a:t>
                      </a:r>
                      <a:endParaRPr lang="ru-RU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r>
                        <a:rPr lang="en-US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  <a:endParaRPr lang="ru-RU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</a:t>
                      </a:r>
                      <a:endParaRPr lang="ru-RU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653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еспублика Хакасия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8</a:t>
                      </a:r>
                      <a:endParaRPr lang="ru-RU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0</a:t>
                      </a:r>
                      <a:endParaRPr lang="ru-RU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en-US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  <a:endParaRPr lang="ru-RU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endParaRPr lang="ru-RU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653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еспублика Горный Алтай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3</a:t>
                      </a:r>
                      <a:endParaRPr lang="ru-RU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6</a:t>
                      </a:r>
                      <a:endParaRPr lang="ru-RU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endParaRPr lang="ru-RU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  <a:endParaRPr lang="ru-RU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056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еспублика Тыва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  <a:endParaRPr lang="ru-RU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</a:t>
                      </a:r>
                      <a:endParaRPr lang="ru-RU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  <a:r>
                        <a:rPr lang="ru-RU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endParaRPr lang="ru-RU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01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ИТОГО МРФ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effectLst/>
                        </a:rPr>
                        <a:t>1 </a:t>
                      </a:r>
                      <a:r>
                        <a:rPr lang="ru-RU" sz="1200" b="1" u="none" strike="noStrike" dirty="0" smtClean="0">
                          <a:effectLst/>
                        </a:rPr>
                        <a:t>963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594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4</a:t>
                      </a:r>
                      <a:r>
                        <a:rPr lang="en-US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1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162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BF2E87-D958-450C-B8CE-6001BA754807}" type="slidenum">
              <a:rPr lang="ru-RU" smtClean="0"/>
              <a:pPr/>
              <a:t>3</a:t>
            </a:fld>
            <a:endParaRPr lang="ru-RU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9325872"/>
              </p:ext>
            </p:extLst>
          </p:nvPr>
        </p:nvGraphicFramePr>
        <p:xfrm>
          <a:off x="488504" y="1628800"/>
          <a:ext cx="8982998" cy="409678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95126"/>
                <a:gridCol w="1980504"/>
                <a:gridCol w="919520"/>
                <a:gridCol w="990252"/>
                <a:gridCol w="919520"/>
                <a:gridCol w="1343913"/>
                <a:gridCol w="848787"/>
                <a:gridCol w="1485376"/>
              </a:tblGrid>
              <a:tr h="288032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№ п/п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Наименование субъекта </a:t>
                      </a:r>
                      <a:r>
                        <a:rPr lang="ru-RU" sz="1400" u="none" strike="noStrike" dirty="0" smtClean="0">
                          <a:effectLst/>
                        </a:rPr>
                        <a:t> </a:t>
                      </a:r>
                      <a:r>
                        <a:rPr lang="ru-RU" sz="1400" u="none" strike="noStrike" dirty="0">
                          <a:effectLst/>
                        </a:rPr>
                        <a:t>РФ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ВСЕГО ТД 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201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endParaRPr lang="ru-RU" dirty="0"/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9208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План на 31.12.1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u="none" strike="noStrike" dirty="0" smtClean="0">
                          <a:effectLst/>
                        </a:rPr>
                        <a:t>Введены</a:t>
                      </a:r>
                      <a:r>
                        <a:rPr lang="ru-RU" sz="1400" u="none" strike="noStrike" baseline="0" dirty="0" smtClean="0">
                          <a:effectLst/>
                        </a:rPr>
                        <a:t> </a:t>
                      </a:r>
                      <a:r>
                        <a:rPr lang="ru-RU" sz="1400" u="none" strike="noStrike" dirty="0" smtClean="0">
                          <a:effectLst/>
                        </a:rPr>
                        <a:t> на 30.09.1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Прогноз  накопительным итогом на 31.12.1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u="none" strike="noStrike" dirty="0" smtClean="0">
                          <a:effectLst/>
                        </a:rPr>
                        <a:t>План на 31.12.16</a:t>
                      </a:r>
                      <a:endParaRPr lang="ru-RU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  <a:p>
                      <a:pPr algn="ctr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язательства перед </a:t>
                      </a:r>
                      <a:r>
                        <a:rPr lang="ru-RU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Россвязь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на 2016 г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22659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effectLst/>
                        </a:rPr>
                        <a:t>Алтайский край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257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16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8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6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22659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effectLst/>
                        </a:rPr>
                        <a:t>Иркутская область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219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1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22659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effectLst/>
                        </a:rPr>
                        <a:t>Кемеровская область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16</a:t>
                      </a:r>
                      <a:r>
                        <a:rPr lang="en-US" sz="1400" u="none" strike="noStrike" dirty="0" smtClean="0">
                          <a:effectLst/>
                        </a:rPr>
                        <a:t>8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1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9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22659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effectLst/>
                        </a:rPr>
                        <a:t>Красноярский край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29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1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4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6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22659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effectLst/>
                        </a:rPr>
                        <a:t>Новосибирская область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279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17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7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22659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effectLst/>
                        </a:rPr>
                        <a:t>Омская область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26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1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4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22659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effectLst/>
                        </a:rPr>
                        <a:t>Республика Алтай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5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22659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effectLst/>
                        </a:rPr>
                        <a:t>Республика Бурятия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12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*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22659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effectLst/>
                        </a:rPr>
                        <a:t>Республика Тыва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16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1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22659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solidFill>
                            <a:schemeClr val="tx1"/>
                          </a:solidFill>
                          <a:effectLst/>
                        </a:rPr>
                        <a:t>Республика </a:t>
                      </a:r>
                      <a:r>
                        <a:rPr lang="ru-RU" sz="14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Хакасия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38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22659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effectLst/>
                        </a:rPr>
                        <a:t>Томская область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10</a:t>
                      </a:r>
                      <a:r>
                        <a:rPr lang="en-US" sz="1400" u="none" strike="noStrike" dirty="0" smtClean="0">
                          <a:effectLst/>
                        </a:rPr>
                        <a:t>7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22659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effectLst/>
                        </a:rPr>
                        <a:t>Забайкальский край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15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7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  <a:tr h="226599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effectLst/>
                        </a:rPr>
                        <a:t> 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effectLst/>
                        </a:rPr>
                        <a:t>ИТОГО: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1 </a:t>
                      </a:r>
                      <a:r>
                        <a:rPr lang="ru-RU" sz="1400" u="none" strike="noStrike" dirty="0" smtClean="0">
                          <a:effectLst/>
                        </a:rPr>
                        <a:t>963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10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7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1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49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39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</a:tr>
            </a:tbl>
          </a:graphicData>
        </a:graphic>
      </p:graphicFrame>
      <p:sp>
        <p:nvSpPr>
          <p:cNvPr id="5" name="Нашивка 4"/>
          <p:cNvSpPr/>
          <p:nvPr>
            <p:custDataLst>
              <p:tags r:id="rId1"/>
            </p:custDataLst>
          </p:nvPr>
        </p:nvSpPr>
        <p:spPr>
          <a:xfrm>
            <a:off x="344488" y="260648"/>
            <a:ext cx="9127013" cy="1152128"/>
          </a:xfrm>
          <a:prstGeom prst="chevron">
            <a:avLst>
              <a:gd name="adj" fmla="val 1913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/>
              <a:t>План-график ввода в эксплуатацию точек доступа для оказания универсальных услуг </a:t>
            </a:r>
            <a:r>
              <a:rPr lang="ru-RU" sz="2400" dirty="0" smtClean="0"/>
              <a:t>связи в 2015 году по поручению Федерального агентства связи (</a:t>
            </a:r>
            <a:r>
              <a:rPr lang="ru-RU" sz="2400" dirty="0" err="1" smtClean="0"/>
              <a:t>Россвязь</a:t>
            </a:r>
            <a:r>
              <a:rPr lang="ru-RU" sz="2400" dirty="0" smtClean="0"/>
              <a:t>)</a:t>
            </a:r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88503" y="5805265"/>
            <a:ext cx="892899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 smtClean="0"/>
              <a:t>* - по республике Бурятия строительство осуществлено с опережением графика ввода в эксплуатацию ТД на 2016 г.</a:t>
            </a:r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38868494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 smtClean="0"/>
              <a:t>4</a:t>
            </a:r>
            <a:endParaRPr lang="ru-RU" dirty="0"/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255160" y="3717032"/>
            <a:ext cx="8748177" cy="490066"/>
          </a:xfrm>
          <a:prstGeom prst="rect">
            <a:avLst/>
          </a:prstGeom>
        </p:spPr>
        <p:txBody>
          <a:bodyPr vert="horz" lIns="0" tIns="0" rIns="0" bIns="0" rtlCol="0" anchor="t" anchorCtr="0">
            <a:normAutofit fontScale="975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 baseline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ctr"/>
            <a:endParaRPr lang="ru-RU" dirty="0">
              <a:solidFill>
                <a:srgbClr val="0070C0"/>
              </a:solidFill>
            </a:endParaRPr>
          </a:p>
        </p:txBody>
      </p:sp>
      <p:sp>
        <p:nvSpPr>
          <p:cNvPr id="6" name="Нашивка 5"/>
          <p:cNvSpPr/>
          <p:nvPr>
            <p:custDataLst>
              <p:tags r:id="rId1"/>
            </p:custDataLst>
          </p:nvPr>
        </p:nvSpPr>
        <p:spPr>
          <a:xfrm>
            <a:off x="354542" y="188640"/>
            <a:ext cx="9127013" cy="648072"/>
          </a:xfrm>
          <a:prstGeom prst="chevron">
            <a:avLst>
              <a:gd name="adj" fmla="val 1913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chemeClr val="bg1"/>
                </a:solidFill>
              </a:rPr>
              <a:t>Отчет по строительству ТД. Прокладка ОК в грунт на 25 ноября 2015 года. План В1</a:t>
            </a:r>
            <a:endParaRPr lang="ru-RU" sz="1200" b="1" dirty="0">
              <a:solidFill>
                <a:schemeClr val="bg1"/>
              </a:solidFill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6675661"/>
              </p:ext>
            </p:extLst>
          </p:nvPr>
        </p:nvGraphicFramePr>
        <p:xfrm>
          <a:off x="255160" y="980728"/>
          <a:ext cx="9306352" cy="4674600"/>
        </p:xfrm>
        <a:graphic>
          <a:graphicData uri="http://schemas.openxmlformats.org/drawingml/2006/table">
            <a:tbl>
              <a:tblPr/>
              <a:tblGrid>
                <a:gridCol w="2033544"/>
                <a:gridCol w="936104"/>
                <a:gridCol w="1008112"/>
                <a:gridCol w="1008112"/>
                <a:gridCol w="1008112"/>
                <a:gridCol w="3312368"/>
              </a:tblGrid>
              <a:tr h="720444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Субъект РФ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троительная готовность</a:t>
                      </a:r>
                      <a:r>
                        <a:rPr lang="ru-RU" sz="13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ВОЛС к ТД на 2015 г. 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 В1</a:t>
                      </a:r>
                      <a:endParaRPr lang="ru-RU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Строящиеся ВОЛС в </a:t>
                      </a:r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5 году, </a:t>
                      </a:r>
                      <a:r>
                        <a:rPr lang="ru-RU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км</a:t>
                      </a:r>
                      <a:endParaRPr lang="ru-RU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Строительство осуществляемое в муниципальных районах по субъектам РФ</a:t>
                      </a:r>
                      <a:endParaRPr lang="ru-RU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</a:tr>
              <a:tr h="230062">
                <a:tc vMerge="1">
                  <a:txBody>
                    <a:bodyPr/>
                    <a:lstStyle/>
                    <a:p>
                      <a:pPr algn="ctr" rtl="0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лан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факт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лан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факт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7573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Алтайский кра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7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7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Тогульский</a:t>
                      </a:r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, Первомайский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590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Красноярский кра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26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26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Назаровский, Минусинский, </a:t>
                      </a:r>
                      <a:r>
                        <a:rPr lang="ru-RU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Новосёловский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5590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Забайкальский кра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2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2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Нерчинский, Приаргунский,  </a:t>
                      </a:r>
                      <a:r>
                        <a:rPr lang="ru-RU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Шилкинский</a:t>
                      </a:r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Ононский</a:t>
                      </a:r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006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Ом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1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1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Нововаршавский</a:t>
                      </a:r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Павлоградский</a:t>
                      </a:r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006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Иркут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25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Кемеров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6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6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Кемеровский</a:t>
                      </a:r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, Новокузнецкий, Ленинск-Кузнецкий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425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Том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0760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еспублика Бурятия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006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еспублика Хакасия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304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Новосибирская область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07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07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Каргатский</a:t>
                      </a:r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, Татарский, </a:t>
                      </a:r>
                      <a:r>
                        <a:rPr lang="ru-RU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Купинский</a:t>
                      </a:r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9813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еспублика</a:t>
                      </a:r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Тыва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006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еспублика Горный Алта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4514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ИТОГО,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МРФ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143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0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0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69667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BF2E87-D958-450C-B8CE-6001BA754807}" type="slidenum">
              <a:rPr lang="ru-RU" smtClean="0"/>
              <a:pPr/>
              <a:t>5</a:t>
            </a:fld>
            <a:endParaRPr lang="ru-RU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9117040"/>
              </p:ext>
            </p:extLst>
          </p:nvPr>
        </p:nvGraphicFramePr>
        <p:xfrm>
          <a:off x="200472" y="1123950"/>
          <a:ext cx="9432478" cy="4586658"/>
        </p:xfrm>
        <a:graphic>
          <a:graphicData uri="http://schemas.openxmlformats.org/drawingml/2006/table">
            <a:tbl>
              <a:tblPr/>
              <a:tblGrid>
                <a:gridCol w="1655614"/>
                <a:gridCol w="720080"/>
                <a:gridCol w="792088"/>
                <a:gridCol w="792088"/>
                <a:gridCol w="792088"/>
                <a:gridCol w="792088"/>
                <a:gridCol w="792088"/>
                <a:gridCol w="3096344"/>
              </a:tblGrid>
              <a:tr h="697969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Субъект РФ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троительная готовность</a:t>
                      </a:r>
                      <a:r>
                        <a:rPr lang="ru-RU" sz="13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ВОЛС к ТД на 2015 г.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н В2 2015</a:t>
                      </a:r>
                      <a:endParaRPr lang="ru-RU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Строящиеся ВОЛС                         в </a:t>
                      </a:r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5 году, </a:t>
                      </a:r>
                      <a:r>
                        <a:rPr lang="ru-RU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км</a:t>
                      </a:r>
                      <a:endParaRPr lang="ru-RU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ОЛС к ТД             План В2 2016</a:t>
                      </a:r>
                      <a:endParaRPr lang="ru-RU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Строительство осуществляемое в муниципальных районах по субъектам РФ</a:t>
                      </a:r>
                      <a:endParaRPr lang="ru-RU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</a:tr>
              <a:tr h="222074">
                <a:tc vMerge="1">
                  <a:txBody>
                    <a:bodyPr/>
                    <a:lstStyle/>
                    <a:p>
                      <a:pPr algn="ctr" rtl="0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лан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факт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лан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факт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ТД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Км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20120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Алтайский кра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7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7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409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409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Романовский, Мамонтовский, </a:t>
                      </a:r>
                      <a:r>
                        <a:rPr lang="ru-RU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Крутихинский</a:t>
                      </a:r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Панкрушихинский</a:t>
                      </a:r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Завъяловский</a:t>
                      </a:r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,  </a:t>
                      </a:r>
                      <a:r>
                        <a:rPr lang="ru-RU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Хабарский</a:t>
                      </a:r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г.Славгород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9208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Новосибирская область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8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8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514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514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03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 340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Б2 2015: Куйбышевский, Северный,                          </a:t>
                      </a:r>
                      <a:r>
                        <a:rPr lang="ru-RU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Усть-Таркский</a:t>
                      </a:r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Искитимский</a:t>
                      </a:r>
                      <a:endParaRPr lang="ru-RU" sz="14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fontAlgn="ctr" latinLnBrk="0" hangingPunct="1"/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Б2 2016: </a:t>
                      </a:r>
                      <a:r>
                        <a:rPr lang="ru-RU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Баганский</a:t>
                      </a:r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Барабинский</a:t>
                      </a:r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Болотнинский</a:t>
                      </a:r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, Карасукский, </a:t>
                      </a:r>
                      <a:r>
                        <a:rPr lang="ru-RU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Тогучинский</a:t>
                      </a:r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Убинский</a:t>
                      </a:r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Чановский</a:t>
                      </a:r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Черепановский</a:t>
                      </a:r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Чистоозёрный</a:t>
                      </a:r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Чулымский</a:t>
                      </a:r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29203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еспублика</a:t>
                      </a:r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Тыва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3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12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987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984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Дзун-Хемчинский</a:t>
                      </a:r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Каа-Хемский</a:t>
                      </a:r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, </a:t>
                      </a:r>
                      <a:r>
                        <a:rPr lang="ru-RU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Кызылский</a:t>
                      </a:r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, Пей-</a:t>
                      </a:r>
                      <a:r>
                        <a:rPr lang="ru-RU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Хемским</a:t>
                      </a:r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,  </a:t>
                      </a:r>
                      <a:r>
                        <a:rPr lang="ru-RU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Чаа-Хольский</a:t>
                      </a:r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,  </a:t>
                      </a:r>
                      <a:r>
                        <a:rPr lang="ru-RU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Тандинский</a:t>
                      </a:r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Чеди-Хольский</a:t>
                      </a:r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Овюрский</a:t>
                      </a:r>
                      <a:r>
                        <a:rPr lang="ru-RU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, Тес-</a:t>
                      </a:r>
                      <a:r>
                        <a:rPr lang="ru-RU" sz="14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Хемский</a:t>
                      </a:r>
                      <a:endParaRPr lang="ru-RU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563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ИТОГО,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МРФ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57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91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90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2 340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</a:tr>
            </a:tbl>
          </a:graphicData>
        </a:graphic>
      </p:graphicFrame>
      <p:sp>
        <p:nvSpPr>
          <p:cNvPr id="6" name="Нашивка 5"/>
          <p:cNvSpPr/>
          <p:nvPr>
            <p:custDataLst>
              <p:tags r:id="rId1"/>
            </p:custDataLst>
          </p:nvPr>
        </p:nvSpPr>
        <p:spPr>
          <a:xfrm>
            <a:off x="354541" y="285448"/>
            <a:ext cx="9127013" cy="648072"/>
          </a:xfrm>
          <a:prstGeom prst="chevron">
            <a:avLst>
              <a:gd name="adj" fmla="val 1913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chemeClr val="bg1"/>
                </a:solidFill>
              </a:rPr>
              <a:t>Отчет по строительству ТД. Прокладка ОК в грунт на 25 ноября 2015 года. Планы В2 2015, В2 2016</a:t>
            </a:r>
            <a:endParaRPr lang="ru-RU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72664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BF2E87-D958-450C-B8CE-6001BA754807}" type="slidenum">
              <a:rPr lang="ru-RU" smtClean="0"/>
              <a:pPr/>
              <a:t>6</a:t>
            </a:fld>
            <a:endParaRPr lang="ru-RU" dirty="0"/>
          </a:p>
        </p:txBody>
      </p:sp>
      <p:sp>
        <p:nvSpPr>
          <p:cNvPr id="5" name="Объект 3"/>
          <p:cNvSpPr txBox="1">
            <a:spLocks/>
          </p:cNvSpPr>
          <p:nvPr/>
        </p:nvSpPr>
        <p:spPr>
          <a:xfrm>
            <a:off x="632519" y="620688"/>
            <a:ext cx="8748177" cy="5400600"/>
          </a:xfrm>
          <a:prstGeom prst="rect">
            <a:avLst/>
          </a:prstGeom>
        </p:spPr>
        <p:txBody>
          <a:bodyPr lIns="0" tIns="0" rIns="0" bIns="0">
            <a:normAutofit fontScale="85000" lnSpcReduction="20000"/>
          </a:bodyPr>
          <a:lstStyle>
            <a:lvl1pPr marL="92075" indent="-92075" algn="l" defTabSz="914400" rtl="0" eaLnBrk="1" latinLnBrk="0" hangingPunct="1">
              <a:spcBef>
                <a:spcPct val="20000"/>
              </a:spcBef>
              <a:spcAft>
                <a:spcPts val="600"/>
              </a:spcAft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60363" indent="-92075" algn="l" defTabSz="914400" rtl="0" eaLnBrk="1" latinLnBrk="0" hangingPunct="1">
              <a:spcBef>
                <a:spcPct val="20000"/>
              </a:spcBef>
              <a:spcAft>
                <a:spcPts val="600"/>
              </a:spcAft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28650" indent="-92075" algn="l" defTabSz="914400" rtl="0" eaLnBrk="1" latinLnBrk="0" hangingPunct="1">
              <a:spcBef>
                <a:spcPct val="20000"/>
              </a:spcBef>
              <a:spcAft>
                <a:spcPts val="600"/>
              </a:spcAft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8650" indent="-92075" algn="l" defTabSz="914400" rtl="0" eaLnBrk="1" latinLnBrk="0" hangingPunct="1">
              <a:spcBef>
                <a:spcPct val="20000"/>
              </a:spcBef>
              <a:spcAft>
                <a:spcPts val="600"/>
              </a:spcAft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628650" indent="-92075" algn="l" defTabSz="914400" rtl="0" eaLnBrk="1" latinLnBrk="0" hangingPunct="1">
              <a:spcBef>
                <a:spcPct val="20000"/>
              </a:spcBef>
              <a:spcAft>
                <a:spcPts val="600"/>
              </a:spcAft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just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ru-RU" sz="2600" dirty="0" smtClean="0"/>
          </a:p>
          <a:p>
            <a:pPr marL="0" lvl="0" indent="0" algn="just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800" dirty="0" smtClean="0"/>
              <a:t>1. Проектная организация ОАО «</a:t>
            </a:r>
            <a:r>
              <a:rPr lang="ru-RU" sz="1800" dirty="0" err="1" smtClean="0"/>
              <a:t>Гипросвязь</a:t>
            </a:r>
            <a:r>
              <a:rPr lang="ru-RU" sz="1800" dirty="0" smtClean="0"/>
              <a:t>»  завершила проектные работы по СД, СПД, ВОЛС   ТД по плану В1 (143 ТД). Для плана В2 2015 (58 ТД) проектные работы по СПД, СД выполнены, по ВОЛС в стадии завершения - срок окончания до 30 декабря 2015 года.</a:t>
            </a:r>
          </a:p>
          <a:p>
            <a:pPr marL="0" lvl="0" indent="0" algn="just">
              <a:buNone/>
            </a:pPr>
            <a:r>
              <a:rPr lang="ru-RU" sz="1800" dirty="0" smtClean="0">
                <a:ea typeface="Arial Unicode MS" panose="020B0604020202020204" pitchFamily="34" charset="-128"/>
              </a:rPr>
              <a:t>2. </a:t>
            </a:r>
            <a:r>
              <a:rPr lang="ru-RU" sz="1800" dirty="0" err="1" smtClean="0">
                <a:ea typeface="Arial Unicode MS" panose="020B0604020202020204" pitchFamily="34" charset="-128"/>
              </a:rPr>
              <a:t>Строительно</a:t>
            </a:r>
            <a:r>
              <a:rPr lang="ru-RU" sz="1800" dirty="0" smtClean="0">
                <a:ea typeface="Arial Unicode MS" panose="020B0604020202020204" pitchFamily="34" charset="-128"/>
              </a:rPr>
              <a:t>–монтажные работы по прокладке ОК в грунт для организации 143 ТД завершены. </a:t>
            </a:r>
          </a:p>
          <a:p>
            <a:pPr marL="0" lvl="0" indent="0" algn="just">
              <a:buNone/>
            </a:pPr>
            <a:r>
              <a:rPr lang="ru-RU" sz="1800" dirty="0" smtClean="0">
                <a:ea typeface="Arial Unicode MS" panose="020B0604020202020204" pitchFamily="34" charset="-128"/>
              </a:rPr>
              <a:t>Для 58 ТД:</a:t>
            </a:r>
          </a:p>
          <a:p>
            <a:pPr marL="0" lvl="0" indent="0" algn="just">
              <a:buNone/>
            </a:pPr>
            <a:r>
              <a:rPr lang="ru-RU" sz="1800" dirty="0" smtClean="0">
                <a:ea typeface="Arial Unicode MS" panose="020B0604020202020204" pitchFamily="34" charset="-128"/>
              </a:rPr>
              <a:t>- Алтайский </a:t>
            </a:r>
            <a:r>
              <a:rPr lang="ru-RU" sz="1800" dirty="0">
                <a:ea typeface="Arial Unicode MS" panose="020B0604020202020204" pitchFamily="34" charset="-128"/>
              </a:rPr>
              <a:t>филиал </a:t>
            </a:r>
            <a:r>
              <a:rPr lang="ru-RU" sz="1800" dirty="0" smtClean="0">
                <a:ea typeface="Arial Unicode MS" panose="020B0604020202020204" pitchFamily="34" charset="-128"/>
              </a:rPr>
              <a:t>- работы </a:t>
            </a:r>
            <a:r>
              <a:rPr lang="ru-RU" sz="1800" dirty="0">
                <a:ea typeface="Arial Unicode MS" panose="020B0604020202020204" pitchFamily="34" charset="-128"/>
              </a:rPr>
              <a:t>по строительству ВОЛС завершены, идёт оформление сдаточной документации, организация и проведение рабочих комиссий. </a:t>
            </a:r>
            <a:r>
              <a:rPr lang="ru-RU" sz="1800" dirty="0" smtClean="0">
                <a:ea typeface="Arial Unicode MS" panose="020B0604020202020204" pitchFamily="34" charset="-128"/>
              </a:rPr>
              <a:t>Срок </a:t>
            </a:r>
            <a:r>
              <a:rPr lang="ru-RU" sz="1800" dirty="0">
                <a:ea typeface="Arial Unicode MS" panose="020B0604020202020204" pitchFamily="34" charset="-128"/>
              </a:rPr>
              <a:t>завершения работ  </a:t>
            </a:r>
            <a:r>
              <a:rPr lang="ru-RU" sz="1800" dirty="0" smtClean="0">
                <a:ea typeface="Arial Unicode MS" panose="020B0604020202020204" pitchFamily="34" charset="-128"/>
              </a:rPr>
              <a:t>                            - 10 </a:t>
            </a:r>
            <a:r>
              <a:rPr lang="ru-RU" sz="1800" dirty="0">
                <a:ea typeface="Arial Unicode MS" panose="020B0604020202020204" pitchFamily="34" charset="-128"/>
              </a:rPr>
              <a:t>декабря 2015 г. ;</a:t>
            </a:r>
            <a:endParaRPr lang="ru-RU" sz="1800" dirty="0" smtClean="0">
              <a:ea typeface="Arial Unicode MS" panose="020B0604020202020204" pitchFamily="34" charset="-128"/>
            </a:endParaRPr>
          </a:p>
          <a:p>
            <a:pPr marL="0" lvl="0" indent="0" algn="just">
              <a:buNone/>
            </a:pPr>
            <a:r>
              <a:rPr lang="ru-RU" sz="1800" dirty="0" smtClean="0">
                <a:ea typeface="Arial Unicode MS" panose="020B0604020202020204" pitchFamily="34" charset="-128"/>
              </a:rPr>
              <a:t>- Новосибирский филиал - работы по строительству ВОЛС завершены, идёт оформление сдаточной документации, организация и проведение рабочих комиссий. Срок завершения работ  - 30 декабря 2015 г.;</a:t>
            </a:r>
          </a:p>
          <a:p>
            <a:pPr marL="0" lvl="0" indent="0" algn="just">
              <a:buNone/>
            </a:pPr>
            <a:r>
              <a:rPr lang="ru-RU" sz="1800" dirty="0" smtClean="0">
                <a:ea typeface="Arial Unicode MS" panose="020B0604020202020204" pitchFamily="34" charset="-128"/>
              </a:rPr>
              <a:t>- Республика Тыва - </a:t>
            </a:r>
            <a:r>
              <a:rPr lang="ru-RU" sz="1800" dirty="0">
                <a:ea typeface="Arial Unicode MS" panose="020B0604020202020204" pitchFamily="34" charset="-128"/>
              </a:rPr>
              <a:t>работы по </a:t>
            </a:r>
            <a:r>
              <a:rPr lang="ru-RU" sz="1800" dirty="0" smtClean="0">
                <a:ea typeface="Arial Unicode MS" panose="020B0604020202020204" pitchFamily="34" charset="-128"/>
              </a:rPr>
              <a:t>прокладке ОК завершены, осталось выполнить 5 речных переходов через р. Енисей (подвес ОК), </a:t>
            </a:r>
            <a:r>
              <a:rPr lang="ru-RU" sz="1800" dirty="0">
                <a:ea typeface="Arial Unicode MS" panose="020B0604020202020204" pitchFamily="34" charset="-128"/>
              </a:rPr>
              <a:t>идёт оформление сдаточной документации, организация и проведение рабочих комиссий. Срок завершения работ  - 30 декабря 2015 г. </a:t>
            </a:r>
            <a:endParaRPr lang="ru-RU" sz="1800" dirty="0" smtClean="0">
              <a:ea typeface="Arial Unicode MS" panose="020B0604020202020204" pitchFamily="34" charset="-128"/>
            </a:endParaRPr>
          </a:p>
          <a:p>
            <a:pPr marL="0" lvl="0" indent="0">
              <a:buNone/>
            </a:pPr>
            <a:r>
              <a:rPr lang="ru-RU" sz="1800" dirty="0" smtClean="0">
                <a:ea typeface="Arial Unicode MS" panose="020B0604020202020204" pitchFamily="34" charset="-128"/>
              </a:rPr>
              <a:t>3. Оборудование для ТД первого этапа получено. По Новосибирскому, Алтайскому, Кемеровскому, Красноярскому филиалам оборудование смонтировано. В Забайкальском, Омском филиалах ведётся монтаж узлов доступа.                                                                                Для последующих этапов оборудование заказано и ожидается его поступление в филиалы</a:t>
            </a:r>
            <a:r>
              <a:rPr lang="ru-RU" sz="1800" dirty="0" smtClean="0">
                <a:solidFill>
                  <a:srgbClr val="FF0000"/>
                </a:solidFill>
                <a:ea typeface="Arial Unicode MS" panose="020B0604020202020204" pitchFamily="34" charset="-128"/>
              </a:rPr>
              <a:t>.</a:t>
            </a:r>
          </a:p>
          <a:p>
            <a:pPr marL="0" lvl="0" indent="0">
              <a:buNone/>
            </a:pPr>
            <a:r>
              <a:rPr lang="ru-RU" sz="1800" dirty="0" smtClean="0">
                <a:ea typeface="Arial Unicode MS" panose="020B0604020202020204" pitchFamily="34" charset="-128"/>
              </a:rPr>
              <a:t>4. До конца 2015 г. работа в части СОРМ ведётся в «ручном» режиме. В 2016 г. будет введена система автоматической идентификации пользователей УУС.</a:t>
            </a:r>
            <a:endParaRPr lang="ru-RU" sz="1400" dirty="0"/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 smtClean="0">
              <a:ln>
                <a:noFill/>
              </a:ln>
              <a:solidFill>
                <a:srgbClr val="063A7B">
                  <a:lumMod val="75000"/>
                </a:srgb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2800" b="0" i="0" u="none" strike="noStrike" kern="1200" cap="none" spc="0" normalizeH="0" baseline="0" noProof="0" dirty="0" smtClean="0">
              <a:ln>
                <a:noFill/>
              </a:ln>
              <a:solidFill>
                <a:srgbClr val="063A7B">
                  <a:lumMod val="75000"/>
                </a:srgb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2800" b="0" i="0" u="none" strike="noStrike" kern="1200" cap="none" spc="0" normalizeH="0" baseline="0" noProof="0" dirty="0" smtClean="0">
              <a:ln>
                <a:noFill/>
              </a:ln>
              <a:solidFill>
                <a:srgbClr val="063A7B">
                  <a:lumMod val="75000"/>
                </a:srgb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2800" b="0" i="0" u="none" strike="noStrike" kern="1200" cap="none" spc="0" normalizeH="0" baseline="0" noProof="0" dirty="0" smtClean="0">
              <a:ln>
                <a:noFill/>
              </a:ln>
              <a:solidFill>
                <a:srgbClr val="063A7B">
                  <a:lumMod val="75000"/>
                </a:srgb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2800" b="0" i="0" u="none" strike="noStrike" kern="1200" cap="none" spc="0" normalizeH="0" baseline="0" noProof="0" dirty="0" smtClean="0">
              <a:ln>
                <a:noFill/>
              </a:ln>
              <a:solidFill>
                <a:srgbClr val="063A7B">
                  <a:lumMod val="75000"/>
                </a:srgb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2800" b="0" i="0" u="none" strike="noStrike" kern="1200" cap="none" spc="0" normalizeH="0" baseline="0" noProof="0" dirty="0" smtClean="0">
              <a:ln>
                <a:noFill/>
              </a:ln>
              <a:solidFill>
                <a:srgbClr val="063A7B">
                  <a:lumMod val="75000"/>
                </a:srgb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500" b="0" i="0" u="none" strike="noStrike" kern="1200" cap="none" spc="0" normalizeH="0" baseline="0" noProof="0" dirty="0" smtClean="0">
              <a:ln>
                <a:noFill/>
              </a:ln>
              <a:solidFill>
                <a:srgbClr val="063A7B">
                  <a:lumMod val="75000"/>
                </a:srgb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rgbClr val="063A7B">
                  <a:lumMod val="75000"/>
                </a:srgb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Нашивка 5"/>
          <p:cNvSpPr/>
          <p:nvPr>
            <p:custDataLst>
              <p:tags r:id="rId1"/>
            </p:custDataLst>
          </p:nvPr>
        </p:nvSpPr>
        <p:spPr>
          <a:xfrm>
            <a:off x="344488" y="260648"/>
            <a:ext cx="9127013" cy="504056"/>
          </a:xfrm>
          <a:prstGeom prst="chevron">
            <a:avLst>
              <a:gd name="adj" fmla="val 1913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bg1"/>
                </a:solidFill>
              </a:rPr>
              <a:t>Реализация проекта</a:t>
            </a:r>
            <a:endParaRPr lang="ru-RU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2451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BF2E87-D958-450C-B8CE-6001BA754807}" type="slidenum">
              <a:rPr lang="ru-RU" smtClean="0"/>
              <a:pPr/>
              <a:t>7</a:t>
            </a:fld>
            <a:endParaRPr lang="ru-RU" dirty="0"/>
          </a:p>
        </p:txBody>
      </p:sp>
      <p:sp>
        <p:nvSpPr>
          <p:cNvPr id="8" name="Нашивка 7"/>
          <p:cNvSpPr/>
          <p:nvPr>
            <p:custDataLst>
              <p:tags r:id="rId1"/>
            </p:custDataLst>
          </p:nvPr>
        </p:nvSpPr>
        <p:spPr>
          <a:xfrm>
            <a:off x="341028" y="136120"/>
            <a:ext cx="9127013" cy="504056"/>
          </a:xfrm>
          <a:prstGeom prst="chevron">
            <a:avLst>
              <a:gd name="adj" fmla="val 1913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Проблемы и вопросы, возникшие в ходе реализации проекта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488504" y="908720"/>
            <a:ext cx="9073008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algn="just">
              <a:buAutoNum type="arabicPeriod"/>
            </a:pPr>
            <a:r>
              <a:rPr lang="ru-RU" dirty="0" smtClean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Из-за невыполнения договорных обязательств перед заказчиком ПАО «Ростелеком» договорные отношения с ОАО «Центр энергоэффективности» прекращены. </a:t>
            </a:r>
          </a:p>
          <a:p>
            <a:pPr marL="342900" lvl="0" indent="-342900" algn="just">
              <a:buAutoNum type="arabicPeriod"/>
            </a:pPr>
            <a:r>
              <a:rPr lang="ru-RU" dirty="0" smtClean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Информация о выборе новой подрядной организации будет доведена до заинтересованных сторон КЦ ПАО «Ростелеком» после заключения договора.</a:t>
            </a:r>
          </a:p>
          <a:p>
            <a:pPr marL="342900" lvl="0" indent="-342900" algn="just">
              <a:buAutoNum type="arabicPeriod"/>
            </a:pPr>
            <a:endParaRPr lang="ru-RU" dirty="0" smtClean="0"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342900" lvl="0" indent="-342900" algn="just">
              <a:buFontTx/>
              <a:buAutoNum type="arabicPeriod"/>
            </a:pPr>
            <a:endParaRPr lang="ru-RU" dirty="0" smtClean="0"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9802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6&quot;&gt;&lt;elem m_fUsage=&quot;3.04036354622815970000E+000&quot;&gt;&lt;m_ppcolschidx val=&quot;0&quot;/&gt;&lt;m_rgb r=&quot;0&quot; g=&quot;aa&quot; b=&quot;e7&quot;/&gt;&lt;/elem&gt;&lt;elem m_fUsage=&quot;2.25785815417724760000E+000&quot;&gt;&lt;m_ppcolschidx val=&quot;0&quot;/&gt;&lt;m_rgb r=&quot;fd&quot; g=&quot;bc&quot; b=&quot;5f&quot;/&gt;&lt;/elem&gt;&lt;elem m_fUsage=&quot;1.80326901569705080000E+000&quot;&gt;&lt;m_ppcolschidx val=&quot;0&quot;/&gt;&lt;m_rgb r=&quot;f0&quot; g=&quot;4e&quot; b=&quot;23&quot;/&gt;&lt;/elem&gt;&lt;elem m_fUsage=&quot;1.00000000000000000000E+000&quot;&gt;&lt;m_ppcolschidx val=&quot;0&quot;/&gt;&lt;m_rgb r=&quot;6&quot; g=&quot;3a&quot; b=&quot;7b&quot;/&gt;&lt;/elem&gt;&lt;elem m_fUsage=&quot;9.83890347740343120000E-001&quot;&gt;&lt;m_ppcolschidx val=&quot;0&quot;/&gt;&lt;m_rgb r=&quot;f7&quot; g=&quot;96&quot; b=&quot;46&quot;/&gt;&lt;/elem&gt;&lt;elem m_fUsage=&quot;9.14617415140767000000E-001&quot;&gt;&lt;m_ppcolschidx val=&quot;0&quot;/&gt;&lt;m_rgb r=&quot;0&quot; g=&quot;aa&quot; b=&quot;d5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298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2AoUxhzEup3ru2sUSR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QptDraftNote"/>
  <p:tag name="DATE" val="08.08.2012 12:59:1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QptDraftNote"/>
  <p:tag name="DATE" val="08.08.2012 12:59:1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2AoUxhzEup3ru2sUSRf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2AoUxhzEup3ru2sUSRf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2AoUxhzEup3ru2sUSRf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2AoUxhzEup3ru2sUSRf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2AoUxhzEup3ru2sUSRfw"/>
</p:tagLst>
</file>

<file path=ppt/theme/theme1.xml><?xml version="1.0" encoding="utf-8"?>
<a:theme xmlns:a="http://schemas.openxmlformats.org/drawingml/2006/main" name="Office Theme">
  <a:themeElements>
    <a:clrScheme name="ROS">
      <a:dk1>
        <a:sysClr val="windowText" lastClr="000000"/>
      </a:dk1>
      <a:lt1>
        <a:sysClr val="window" lastClr="FFFFFF"/>
      </a:lt1>
      <a:dk2>
        <a:srgbClr val="00AAE7"/>
      </a:dk2>
      <a:lt2>
        <a:srgbClr val="EEECE1"/>
      </a:lt2>
      <a:accent1>
        <a:srgbClr val="063A7B"/>
      </a:accent1>
      <a:accent2>
        <a:srgbClr val="F04E23"/>
      </a:accent2>
      <a:accent3>
        <a:srgbClr val="FDBC5F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1146</TotalTime>
  <Words>941</Words>
  <Application>Microsoft Office PowerPoint</Application>
  <PresentationFormat>Лист A4 (210x297 мм)</PresentationFormat>
  <Paragraphs>343</Paragraphs>
  <Slides>7</Slides>
  <Notes>3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9" baseType="lpstr">
      <vt:lpstr>Office Them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Администратор</dc:creator>
  <cp:lastModifiedBy>Ковалёв Андрей Николаевич</cp:lastModifiedBy>
  <cp:revision>2443</cp:revision>
  <cp:lastPrinted>2015-11-19T03:35:42Z</cp:lastPrinted>
  <dcterms:created xsi:type="dcterms:W3CDTF">2011-09-12T10:33:47Z</dcterms:created>
  <dcterms:modified xsi:type="dcterms:W3CDTF">2015-11-23T02:25:42Z</dcterms:modified>
</cp:coreProperties>
</file>